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74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C3-49A1-91CC-7A6234465D1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C3-49A1-91CC-7A6234465D1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CC3-49A1-91CC-7A6234465D1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52730256"/>
        <c:axId val="952734096"/>
      </c:barChart>
      <c:catAx>
        <c:axId val="9527302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2734096"/>
        <c:crosses val="autoZero"/>
        <c:auto val="1"/>
        <c:lblAlgn val="ctr"/>
        <c:lblOffset val="100"/>
        <c:noMultiLvlLbl val="0"/>
      </c:catAx>
      <c:valAx>
        <c:axId val="95273409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2730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ECD205-00D9-17CE-5CEA-AD4DA5E271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B9DAEC2B-4514-CC4C-D59B-7FE6E89EF8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</p:spPr>
        <p:txBody>
          <a:bodyPr/>
          <a:lstStyle/>
          <a:p>
            <a:r>
              <a:rPr lang="en-US" dirty="0"/>
              <a:t>Clustered Column Chart</a:t>
            </a: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1CB884A0-E7DD-BEE7-D0FC-C78CC861C40B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714375" y="2672360"/>
          <a:ext cx="16859250" cy="65430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8C1B829-0CA1-17D1-410E-A6E4B0481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FF7B3BF-9F9A-4981-AD9E-56A7FC194FF4}"/>
              </a:ext>
            </a:extLst>
          </p:cNvPr>
          <p:cNvSpPr txBox="1"/>
          <p:nvPr/>
        </p:nvSpPr>
        <p:spPr>
          <a:xfrm>
            <a:off x="714375" y="1912900"/>
            <a:ext cx="16858800" cy="430887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4000" b="1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800" dirty="0"/>
              <a:t>Chart Title </a:t>
            </a: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12864545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93</TotalTime>
  <Words>6</Words>
  <Application>Microsoft Office PowerPoint</Application>
  <PresentationFormat>Custom</PresentationFormat>
  <Paragraphs>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Clustered Column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282</cp:revision>
  <dcterms:created xsi:type="dcterms:W3CDTF">2006-08-16T00:00:00Z</dcterms:created>
  <dcterms:modified xsi:type="dcterms:W3CDTF">2025-10-06T08:56:16Z</dcterms:modified>
  <cp:category/>
  <dc:identifier>DAGkDf5R9EM</dc:identifier>
</cp:coreProperties>
</file>